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7" r:id="rId2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2F067E-EBC4-40E5-9893-0B30640A5DF1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6FC693-014D-4569-8994-7202AE6752D9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839162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29 Nov 20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44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92046-91F1-4C6B-A451-29DEF354F3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E27B08-F31A-4A4A-BAB4-6919FE4A51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593EC-6E18-4D8F-B13E-174F0EF69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EAF70-2664-4B56-93B1-B7F57F0A2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D73FF2-055E-4E00-927D-B33D2C628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813694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9CD6F1-DB8C-4DA8-BA24-002A76918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A2CA9B-9C62-483B-8DBF-5CEF87B484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E3248F-CD83-4867-92C7-706FFB3279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DB3778-908D-4FC8-B1A6-928BE2A40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551016-0E42-42B1-B870-7E63273FB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530682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E03C5A-629E-44C1-83F6-2300E30067D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4F6AE7-71F1-4114-9A3A-21D1C2F5EE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B9C48E-D132-4D61-82F6-47B4C4EDB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E1FFD7-8BE4-48E5-AC62-6BF83C37D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9348C8-9B43-4B94-A008-C8FBE9C0D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12073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420078" y="2020888"/>
            <a:ext cx="11351847" cy="4246563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-223838"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420078" y="1447800"/>
            <a:ext cx="11351847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71678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338A7D-2E3C-4059-899B-AF7947C56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1C7D3A-077A-43D6-AB82-A11DD888D4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38446E-7BF8-4682-8E5E-30CCE4F1F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60DD40-ABE8-48D5-8AEC-B4EBC4544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4CAFA8-B0A2-457F-9ABC-4E5F94B8E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985717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B4CFF-DF43-44D3-971E-1E043ED84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3FF444-C52C-4659-AF55-9931C781E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3DC9EB-F63E-426C-9430-B918EFA14B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20C684-8107-49B5-BD4A-FC131DE8E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CBF546-3D53-45CC-BEC5-B5EE09836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407192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70F9B-B5CE-4A0E-959E-3B791B8176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7D2B8-0153-4F9E-BA3C-691981C25E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75E65F-62A9-46F1-B26F-725F1BDB4F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B4C744-FCAF-42D2-B5EC-7A4C68D24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2CF1AC-1A71-48F8-8698-088D428CF5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93F768-D263-421F-8A50-DE7AAAD7D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52559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4DF42-5815-414F-BC9F-2B6B7CAF5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C77708-96AA-4950-9217-4995D116AE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3C65C7-8890-444B-B9F0-12858AFBD9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88A95A-8C53-48D9-806A-CF9DD3D7FB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5B6FD5-1DC8-4970-8687-3C996BEE6F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6A323F1-0F88-433C-AA67-5135C00FE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87366A-8EEE-40CB-8DB7-159EA68EF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927A04-AB82-4600-92CF-B21F42741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42148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B212C-47E1-456A-B986-19EE5CB9D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E23351-60DB-47A8-8535-64B16DB181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9C3924-0B34-4597-916F-850A0D887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29716F-8911-40F2-9D88-53ECDF61F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4779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6588CC-8BB8-4E9D-8C8F-3538F13FB4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D28E6F-DF53-4E34-A1A9-CDCB3084D6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8C36A8-FAC4-4156-AF98-DB15A58C3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88592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5DD59-F60A-40A1-9EF9-D6C13774B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B30F-E762-438E-9930-C3EAD6142E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320AB1-4D63-4AD6-9137-0FD47E171C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8869F9-91F2-45B8-88A0-DD112D52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5CE9FF-1829-4345-AFF1-FAF0968BF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83C871-A094-4A11-8A31-C52C4B2E5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91753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F15FCD-30E9-4C57-83A8-E92A8741E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7D13196-1637-4142-9D02-380D9D5E0A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ED38BE-441A-411A-96C6-01C91DA40F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8D0583-EC46-4FD4-BFE4-E5385C56F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FF907C-FB8A-4820-9A58-7BCD9E2BC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9BC153-2B89-4202-BB02-0F9C296CB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66375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11A90E-5AA8-4C7D-A930-8AEA2B6E5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DC2390-D51F-45D4-89B3-9DED28AC58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0618C-189F-42C0-88CB-5653E3AA60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CB3056-E5A9-44AB-A06C-52135AB40848}" type="datetimeFigureOut">
              <a:rPr lang="nl-NL" smtClean="0"/>
              <a:t>1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BB74ED-7F6D-4FF7-8A37-531E2DD42F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C7F8DB-FDF3-4946-B194-B6F579CB54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3039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du texte 16"/>
          <p:cNvSpPr txBox="1">
            <a:spLocks/>
          </p:cNvSpPr>
          <p:nvPr/>
        </p:nvSpPr>
        <p:spPr bwMode="auto">
          <a:xfrm>
            <a:off x="1415480" y="1176106"/>
            <a:ext cx="7200800" cy="30998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600" b="1" kern="0" dirty="0">
                <a:solidFill>
                  <a:schemeClr val="bg1"/>
                </a:solidFill>
                <a:latin typeface="+mj-lt"/>
              </a:rPr>
              <a:t>Product Information</a:t>
            </a:r>
            <a:endParaRPr lang="en-US" b="1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9" name="Rectangle 108"/>
          <p:cNvSpPr/>
          <p:nvPr/>
        </p:nvSpPr>
        <p:spPr bwMode="auto">
          <a:xfrm>
            <a:off x="1415480" y="2510652"/>
            <a:ext cx="4608512" cy="3816424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NL" sz="1600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553168" y="2204864"/>
            <a:ext cx="1256434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3"/>
                </a:solidFill>
              </a:rPr>
              <a:t>LAST WEEK</a:t>
            </a:r>
          </a:p>
        </p:txBody>
      </p:sp>
      <p:cxnSp>
        <p:nvCxnSpPr>
          <p:cNvPr id="49" name="Straight Connector 48"/>
          <p:cNvCxnSpPr/>
          <p:nvPr/>
        </p:nvCxnSpPr>
        <p:spPr bwMode="auto">
          <a:xfrm flipV="1">
            <a:off x="1143000" y="2420888"/>
            <a:ext cx="0" cy="4032448"/>
          </a:xfrm>
          <a:prstGeom prst="line">
            <a:avLst/>
          </a:prstGeom>
          <a:solidFill>
            <a:schemeClr val="accent6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Espace réservé du texte 16"/>
          <p:cNvSpPr txBox="1">
            <a:spLocks/>
          </p:cNvSpPr>
          <p:nvPr/>
        </p:nvSpPr>
        <p:spPr bwMode="auto">
          <a:xfrm>
            <a:off x="1415480" y="1506735"/>
            <a:ext cx="7200800" cy="62612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177800" marR="0" lvl="0" indent="-177800" defTabSz="714375" eaLnBrk="0" hangingPunct="0">
              <a:lnSpc>
                <a:spcPct val="100000"/>
              </a:lnSpc>
              <a:spcBef>
                <a:spcPct val="20000"/>
              </a:spcBef>
              <a:buClr>
                <a:schemeClr val="accent2"/>
              </a:buClr>
              <a:buSzTx/>
              <a:buFont typeface="Wingdings" pitchFamily="2" charset="2"/>
              <a:buChar char="§"/>
              <a:tabLst/>
              <a:defRPr sz="1400" b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Making a web application for a hotel/restaurant. With functionalities like: </a:t>
            </a:r>
            <a:r>
              <a:rPr lang="en-US" dirty="0" err="1">
                <a:solidFill>
                  <a:schemeClr val="tx2"/>
                </a:solidFill>
              </a:rPr>
              <a:t>menucard</a:t>
            </a:r>
            <a:r>
              <a:rPr lang="en-US" dirty="0">
                <a:solidFill>
                  <a:schemeClr val="tx2"/>
                </a:solidFill>
              </a:rPr>
              <a:t>, order system, payment system, booking system, QR code.</a:t>
            </a:r>
          </a:p>
        </p:txBody>
      </p:sp>
      <p:sp>
        <p:nvSpPr>
          <p:cNvPr id="32" name="Espace réservé du texte 16"/>
          <p:cNvSpPr txBox="1">
            <a:spLocks/>
          </p:cNvSpPr>
          <p:nvPr/>
        </p:nvSpPr>
        <p:spPr bwMode="auto">
          <a:xfrm>
            <a:off x="8735917" y="1171724"/>
            <a:ext cx="2096616" cy="30998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algn="ctr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600" b="1" kern="0" dirty="0">
                <a:solidFill>
                  <a:schemeClr val="bg1"/>
                </a:solidFill>
                <a:latin typeface="+mj-lt"/>
              </a:rPr>
              <a:t>TEAM</a:t>
            </a:r>
            <a:endParaRPr lang="en-US" b="1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Espace réservé du texte 16"/>
          <p:cNvSpPr txBox="1">
            <a:spLocks/>
          </p:cNvSpPr>
          <p:nvPr/>
        </p:nvSpPr>
        <p:spPr bwMode="auto">
          <a:xfrm>
            <a:off x="8688288" y="1506734"/>
            <a:ext cx="2096616" cy="91415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177800" marR="0" lvl="0" indent="-177800" defTabSz="714375" eaLnBrk="0" hangingPunct="0">
              <a:lnSpc>
                <a:spcPct val="100000"/>
              </a:lnSpc>
              <a:spcBef>
                <a:spcPct val="20000"/>
              </a:spcBef>
              <a:buClr>
                <a:schemeClr val="accent2"/>
              </a:buClr>
              <a:buSzTx/>
              <a:buFont typeface="Wingdings" pitchFamily="2" charset="2"/>
              <a:buChar char="§"/>
              <a:tabLst/>
              <a:defRPr sz="1400" b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indent="-96856">
              <a:lnSpc>
                <a:spcPct val="85000"/>
              </a:lnSpc>
              <a:spcBef>
                <a:spcPct val="25000"/>
              </a:spcBef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1200" dirty="0"/>
              <a:t> Kasper van der </a:t>
            </a:r>
            <a:r>
              <a:rPr lang="en-US" sz="1200" dirty="0" err="1"/>
              <a:t>Graaf</a:t>
            </a:r>
            <a:endParaRPr lang="en-US" sz="1200" dirty="0"/>
          </a:p>
          <a:p>
            <a:pPr indent="-96856">
              <a:lnSpc>
                <a:spcPct val="85000"/>
              </a:lnSpc>
              <a:spcBef>
                <a:spcPct val="25000"/>
              </a:spcBef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1200" dirty="0"/>
              <a:t> Leon </a:t>
            </a:r>
            <a:r>
              <a:rPr lang="en-US" sz="1200" dirty="0" err="1"/>
              <a:t>Vink</a:t>
            </a:r>
            <a:endParaRPr lang="en-US" sz="1200" dirty="0"/>
          </a:p>
          <a:p>
            <a:pPr indent="-96856">
              <a:lnSpc>
                <a:spcPct val="85000"/>
              </a:lnSpc>
              <a:spcBef>
                <a:spcPct val="25000"/>
              </a:spcBef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1200" dirty="0"/>
              <a:t> Mahmoud </a:t>
            </a:r>
            <a:r>
              <a:rPr lang="en-US" sz="1200" dirty="0" err="1"/>
              <a:t>Taleb</a:t>
            </a:r>
            <a:endParaRPr lang="en-US" sz="1200" dirty="0"/>
          </a:p>
          <a:p>
            <a:pPr indent="-96856">
              <a:lnSpc>
                <a:spcPct val="85000"/>
              </a:lnSpc>
              <a:spcBef>
                <a:spcPct val="25000"/>
              </a:spcBef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1200" dirty="0"/>
              <a:t> Sietske van der Honing</a:t>
            </a:r>
          </a:p>
          <a:p>
            <a:pPr indent="-96856">
              <a:lnSpc>
                <a:spcPct val="85000"/>
              </a:lnSpc>
              <a:spcBef>
                <a:spcPct val="25000"/>
              </a:spcBef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endParaRPr lang="en-US" sz="1200" dirty="0"/>
          </a:p>
        </p:txBody>
      </p:sp>
      <p:grpSp>
        <p:nvGrpSpPr>
          <p:cNvPr id="3" name="Group 33"/>
          <p:cNvGrpSpPr/>
          <p:nvPr/>
        </p:nvGrpSpPr>
        <p:grpSpPr>
          <a:xfrm>
            <a:off x="10632504" y="1486088"/>
            <a:ext cx="402104" cy="718776"/>
            <a:chOff x="3007260" y="5572124"/>
            <a:chExt cx="402104" cy="718776"/>
          </a:xfrm>
        </p:grpSpPr>
        <p:sp>
          <p:nvSpPr>
            <p:cNvPr id="35" name="Freeform 5"/>
            <p:cNvSpPr>
              <a:spLocks noChangeAspect="1"/>
            </p:cNvSpPr>
            <p:nvPr/>
          </p:nvSpPr>
          <p:spPr bwMode="auto">
            <a:xfrm>
              <a:off x="3012022" y="5572124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2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5"/>
            <p:cNvSpPr>
              <a:spLocks noChangeAspect="1"/>
            </p:cNvSpPr>
            <p:nvPr/>
          </p:nvSpPr>
          <p:spPr bwMode="auto">
            <a:xfrm>
              <a:off x="3149231" y="5786438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2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5"/>
            <p:cNvSpPr>
              <a:spLocks noChangeAspect="1"/>
            </p:cNvSpPr>
            <p:nvPr/>
          </p:nvSpPr>
          <p:spPr bwMode="auto">
            <a:xfrm>
              <a:off x="3007260" y="6000752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2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8" name="Espace réservé du texte 16"/>
          <p:cNvSpPr txBox="1">
            <a:spLocks/>
          </p:cNvSpPr>
          <p:nvPr/>
        </p:nvSpPr>
        <p:spPr bwMode="auto">
          <a:xfrm>
            <a:off x="1559494" y="2802878"/>
            <a:ext cx="4311190" cy="626123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A console printed Menu Card</a:t>
            </a:r>
          </a:p>
        </p:txBody>
      </p:sp>
      <p:sp>
        <p:nvSpPr>
          <p:cNvPr id="39" name="Espace réservé du texte 16"/>
          <p:cNvSpPr txBox="1">
            <a:spLocks/>
          </p:cNvSpPr>
          <p:nvPr/>
        </p:nvSpPr>
        <p:spPr bwMode="auto">
          <a:xfrm>
            <a:off x="1559495" y="2564904"/>
            <a:ext cx="4311190" cy="23797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STATUS MINIMAL VIABLE PRODUCT</a:t>
            </a:r>
          </a:p>
        </p:txBody>
      </p:sp>
      <p:sp>
        <p:nvSpPr>
          <p:cNvPr id="40" name="Espace réservé du texte 16"/>
          <p:cNvSpPr txBox="1">
            <a:spLocks/>
          </p:cNvSpPr>
          <p:nvPr/>
        </p:nvSpPr>
        <p:spPr bwMode="auto">
          <a:xfrm>
            <a:off x="1559496" y="3738982"/>
            <a:ext cx="4311190" cy="1562227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Data structure menu card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Menu Card layout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Adding and removing items menu card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Adding and removing ingredients</a:t>
            </a:r>
          </a:p>
        </p:txBody>
      </p:sp>
      <p:sp>
        <p:nvSpPr>
          <p:cNvPr id="41" name="Espace réservé du texte 16"/>
          <p:cNvSpPr txBox="1">
            <a:spLocks/>
          </p:cNvSpPr>
          <p:nvPr/>
        </p:nvSpPr>
        <p:spPr bwMode="auto">
          <a:xfrm>
            <a:off x="1559497" y="3501008"/>
            <a:ext cx="4311190" cy="23797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SUB GOALS</a:t>
            </a:r>
          </a:p>
        </p:txBody>
      </p:sp>
      <p:sp>
        <p:nvSpPr>
          <p:cNvPr id="44" name="Espace réservé du texte 16"/>
          <p:cNvSpPr txBox="1">
            <a:spLocks/>
          </p:cNvSpPr>
          <p:nvPr/>
        </p:nvSpPr>
        <p:spPr bwMode="auto">
          <a:xfrm>
            <a:off x="1561641" y="5733256"/>
            <a:ext cx="4309047" cy="504056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chemeClr val="tx2"/>
                </a:solidFill>
              </a:rPr>
              <a:t>We will show an output of a Menu card, and add a new dish to the example menu</a:t>
            </a:r>
          </a:p>
        </p:txBody>
      </p:sp>
      <p:sp>
        <p:nvSpPr>
          <p:cNvPr id="45" name="Espace réservé du texte 16"/>
          <p:cNvSpPr txBox="1">
            <a:spLocks/>
          </p:cNvSpPr>
          <p:nvPr/>
        </p:nvSpPr>
        <p:spPr bwMode="auto">
          <a:xfrm>
            <a:off x="1559496" y="5517232"/>
            <a:ext cx="4311190" cy="23797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What will we show in the Review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6240016" y="2492896"/>
            <a:ext cx="4536504" cy="3816424"/>
          </a:xfrm>
          <a:prstGeom prst="rect">
            <a:avLst/>
          </a:prstGeom>
          <a:noFill/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NL" sz="1600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449712" y="2204864"/>
            <a:ext cx="1303562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NEXT WEEK</a:t>
            </a:r>
          </a:p>
        </p:txBody>
      </p:sp>
      <p:sp>
        <p:nvSpPr>
          <p:cNvPr id="63" name="Espace réservé du texte 16"/>
          <p:cNvSpPr txBox="1">
            <a:spLocks/>
          </p:cNvSpPr>
          <p:nvPr/>
        </p:nvSpPr>
        <p:spPr bwMode="auto">
          <a:xfrm>
            <a:off x="6388678" y="2564904"/>
            <a:ext cx="4243827" cy="23797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NEW STATUS &amp; SUGGESTIONS TO PROCEED </a:t>
            </a:r>
            <a:endParaRPr lang="en-US" sz="1600" b="1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5" name="Espace réservé du texte 16"/>
          <p:cNvSpPr txBox="1">
            <a:spLocks/>
          </p:cNvSpPr>
          <p:nvPr/>
        </p:nvSpPr>
        <p:spPr bwMode="auto">
          <a:xfrm>
            <a:off x="6384032" y="3505763"/>
            <a:ext cx="4243827" cy="23797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SPRINT DELIVERABLES/ SUB GOALS</a:t>
            </a:r>
            <a:endParaRPr lang="en-US" sz="1600" b="1" kern="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4" name="Group 92"/>
          <p:cNvGrpSpPr/>
          <p:nvPr/>
        </p:nvGrpSpPr>
        <p:grpSpPr>
          <a:xfrm>
            <a:off x="5807968" y="5661248"/>
            <a:ext cx="402104" cy="718776"/>
            <a:chOff x="3007260" y="5572124"/>
            <a:chExt cx="402104" cy="718776"/>
          </a:xfrm>
        </p:grpSpPr>
        <p:sp>
          <p:nvSpPr>
            <p:cNvPr id="94" name="Freeform 5"/>
            <p:cNvSpPr>
              <a:spLocks noChangeAspect="1"/>
            </p:cNvSpPr>
            <p:nvPr/>
          </p:nvSpPr>
          <p:spPr bwMode="auto">
            <a:xfrm>
              <a:off x="3012022" y="5572124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3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5"/>
            <p:cNvSpPr>
              <a:spLocks noChangeAspect="1"/>
            </p:cNvSpPr>
            <p:nvPr/>
          </p:nvSpPr>
          <p:spPr bwMode="auto">
            <a:xfrm>
              <a:off x="3149231" y="5786438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3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5"/>
            <p:cNvSpPr>
              <a:spLocks noChangeAspect="1"/>
            </p:cNvSpPr>
            <p:nvPr/>
          </p:nvSpPr>
          <p:spPr bwMode="auto">
            <a:xfrm>
              <a:off x="3007260" y="6000752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3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2" name="Espace réservé du texte 16"/>
          <p:cNvSpPr txBox="1">
            <a:spLocks/>
          </p:cNvSpPr>
          <p:nvPr/>
        </p:nvSpPr>
        <p:spPr bwMode="auto">
          <a:xfrm>
            <a:off x="6384032" y="2802878"/>
            <a:ext cx="4248472" cy="630877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Order visible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Advised selling price based on the ingredients</a:t>
            </a:r>
          </a:p>
        </p:txBody>
      </p:sp>
      <p:sp>
        <p:nvSpPr>
          <p:cNvPr id="43" name="Espace réservé du texte 16"/>
          <p:cNvSpPr txBox="1">
            <a:spLocks/>
          </p:cNvSpPr>
          <p:nvPr/>
        </p:nvSpPr>
        <p:spPr bwMode="auto">
          <a:xfrm>
            <a:off x="6384032" y="3733446"/>
            <a:ext cx="4248472" cy="2356430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Adding prices to ingredients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Cost price calculation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Advise price calculation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Implementation of table- and order number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Order prototype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endParaRPr lang="en-US" dirty="0">
              <a:solidFill>
                <a:schemeClr val="tx2"/>
              </a:solidFill>
            </a:endParaRPr>
          </a:p>
          <a:p>
            <a:pPr defTabSz="714375" eaLnBrk="0" hangingPunct="0">
              <a:spcBef>
                <a:spcPct val="20000"/>
              </a:spcBef>
              <a:buClr>
                <a:schemeClr val="accent3"/>
              </a:buClr>
              <a:defRPr/>
            </a:pPr>
            <a:endParaRPr lang="en-US" dirty="0">
              <a:solidFill>
                <a:schemeClr val="tx2"/>
              </a:solidFill>
            </a:endParaRPr>
          </a:p>
        </p:txBody>
      </p:sp>
      <p:grpSp>
        <p:nvGrpSpPr>
          <p:cNvPr id="5" name="Group 96"/>
          <p:cNvGrpSpPr/>
          <p:nvPr/>
        </p:nvGrpSpPr>
        <p:grpSpPr>
          <a:xfrm>
            <a:off x="10560496" y="5662552"/>
            <a:ext cx="402104" cy="718776"/>
            <a:chOff x="3007260" y="5572124"/>
            <a:chExt cx="402104" cy="718776"/>
          </a:xfrm>
        </p:grpSpPr>
        <p:sp>
          <p:nvSpPr>
            <p:cNvPr id="98" name="Freeform 5"/>
            <p:cNvSpPr>
              <a:spLocks noChangeAspect="1"/>
            </p:cNvSpPr>
            <p:nvPr/>
          </p:nvSpPr>
          <p:spPr bwMode="auto">
            <a:xfrm>
              <a:off x="3012022" y="5572124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5"/>
            <p:cNvSpPr>
              <a:spLocks noChangeAspect="1"/>
            </p:cNvSpPr>
            <p:nvPr/>
          </p:nvSpPr>
          <p:spPr bwMode="auto">
            <a:xfrm>
              <a:off x="3149231" y="5786438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5"/>
            <p:cNvSpPr>
              <a:spLocks noChangeAspect="1"/>
            </p:cNvSpPr>
            <p:nvPr/>
          </p:nvSpPr>
          <p:spPr bwMode="auto">
            <a:xfrm>
              <a:off x="3007260" y="6000752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8501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</TotalTime>
  <Words>145</Words>
  <Application>Microsoft Office PowerPoint</Application>
  <PresentationFormat>Widescreen</PresentationFormat>
  <Paragraphs>2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oning, Sietske van der</dc:creator>
  <cp:lastModifiedBy>Honing, Sietske van der</cp:lastModifiedBy>
  <cp:revision>5</cp:revision>
  <dcterms:created xsi:type="dcterms:W3CDTF">2018-04-13T12:33:00Z</dcterms:created>
  <dcterms:modified xsi:type="dcterms:W3CDTF">2018-04-13T13:56:21Z</dcterms:modified>
</cp:coreProperties>
</file>